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1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1"/>
    <p:sldMasterId id="2147483650" r:id="rId2"/>
    <p:sldMasterId id="2147483652" r:id="rId3"/>
    <p:sldMasterId id="2147483773" r:id="rId4"/>
    <p:sldMasterId id="2147483775" r:id="rId5"/>
    <p:sldMasterId id="2147483777" r:id="rId6"/>
    <p:sldMasterId id="2147483779" r:id="rId7"/>
    <p:sldMasterId id="2147483781" r:id="rId8"/>
    <p:sldMasterId id="2147483783" r:id="rId9"/>
    <p:sldMasterId id="2147483785" r:id="rId10"/>
  </p:sldMasterIdLst>
  <p:notesMasterIdLst>
    <p:notesMasterId r:id="rId14"/>
  </p:notesMasterIdLst>
  <p:handoutMasterIdLst>
    <p:handoutMasterId r:id="rId15"/>
  </p:handoutMasterIdLst>
  <p:sldIdLst>
    <p:sldId id="344" r:id="rId11"/>
    <p:sldId id="342" r:id="rId12"/>
    <p:sldId id="343" r:id="rId13"/>
  </p:sldIdLst>
  <p:sldSz cx="10688638" cy="6016625"/>
  <p:notesSz cx="6797675" cy="9926638"/>
  <p:custDataLst>
    <p:tags r:id="rId16"/>
  </p:custDataLst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rino, Francesco" initials="PF" lastIdx="1" clrIdx="0">
    <p:extLst>
      <p:ext uri="{19B8F6BF-5375-455C-9EA6-DF929625EA0E}">
        <p15:presenceInfo xmlns:p15="http://schemas.microsoft.com/office/powerpoint/2012/main" userId="Perrino, Frances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D9D9D9"/>
    <a:srgbClr val="FFF2CC"/>
    <a:srgbClr val="FF7E83"/>
    <a:srgbClr val="73797C"/>
    <a:srgbClr val="FFFFFF"/>
    <a:srgbClr val="737A7E"/>
    <a:srgbClr val="A9AFB3"/>
    <a:srgbClr val="D70A25"/>
    <a:srgbClr val="A6ACB1"/>
    <a:srgbClr val="6065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62" autoAdjust="0"/>
    <p:restoredTop sz="96751" autoAdjust="0"/>
  </p:normalViewPr>
  <p:slideViewPr>
    <p:cSldViewPr snapToGrid="0" snapToObjects="1">
      <p:cViewPr varScale="1">
        <p:scale>
          <a:sx n="175" d="100"/>
          <a:sy n="175" d="100"/>
        </p:scale>
        <p:origin x="858" y="150"/>
      </p:cViewPr>
      <p:guideLst/>
    </p:cSldViewPr>
  </p:slideViewPr>
  <p:outlineViewPr>
    <p:cViewPr>
      <p:scale>
        <a:sx n="33" d="100"/>
        <a:sy n="33" d="100"/>
      </p:scale>
      <p:origin x="0" y="640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79" d="100"/>
          <a:sy n="79" d="100"/>
        </p:scale>
        <p:origin x="3954" y="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BD9947-774B-094C-86BB-7C1BB671F378}" type="datetime1">
              <a:rPr lang="it-IT"/>
              <a:pPr/>
              <a:t>27/09/2025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F8A24-0C5D-BF41-99C9-03DB328E2E94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074136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6F962A-24C2-CB42-9306-9FB7F7CEB1DA}" type="datetime1">
              <a:rPr lang="it-IT"/>
              <a:pPr/>
              <a:t>27/09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4538"/>
            <a:ext cx="66103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B6EEFD-3E4B-594D-810E-916B13FA7E1F}" type="slidenum">
              <a:rPr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63807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itolo 1"/>
          <p:cNvSpPr>
            <a:spLocks noGrp="1"/>
          </p:cNvSpPr>
          <p:nvPr>
            <p:ph type="title" hasCustomPrompt="1"/>
          </p:nvPr>
        </p:nvSpPr>
        <p:spPr>
          <a:xfrm>
            <a:off x="652821" y="3211586"/>
            <a:ext cx="7688218" cy="4171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it-IT"/>
              <a:t>PRESENTATION TITLE</a:t>
            </a:r>
          </a:p>
        </p:txBody>
      </p:sp>
      <p:sp>
        <p:nvSpPr>
          <p:cNvPr id="8" name="Segnaposto data 11"/>
          <p:cNvSpPr>
            <a:spLocks noGrp="1"/>
          </p:cNvSpPr>
          <p:nvPr>
            <p:ph type="dt" sz="half" idx="2"/>
          </p:nvPr>
        </p:nvSpPr>
        <p:spPr>
          <a:xfrm>
            <a:off x="5661144" y="3628751"/>
            <a:ext cx="2684539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214DEE6-7743-F44A-92DF-ABEA6EBF579C}" type="datetime1">
              <a:rPr lang="it-IT"/>
              <a:pPr/>
              <a:t>27/09/2025</a:t>
            </a:fld>
            <a:endParaRPr lang="it-IT"/>
          </a:p>
        </p:txBody>
      </p:sp>
      <p:sp>
        <p:nvSpPr>
          <p:cNvPr id="9" name="Segnaposto tes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652821" y="3628751"/>
            <a:ext cx="5008323" cy="3206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41642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856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983622"/>
            <a:ext cx="9087560" cy="10958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21"/>
          </p:nvPr>
        </p:nvSpPr>
        <p:spPr>
          <a:xfrm>
            <a:off x="1087152" y="3418501"/>
            <a:ext cx="4175885" cy="56512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5" name="Segnaposto testo 12"/>
          <p:cNvSpPr>
            <a:spLocks noGrp="1"/>
          </p:cNvSpPr>
          <p:nvPr>
            <p:ph type="body" sz="quarter" idx="22"/>
          </p:nvPr>
        </p:nvSpPr>
        <p:spPr>
          <a:xfrm>
            <a:off x="5669448" y="3413405"/>
            <a:ext cx="4095975" cy="57021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914400" indent="0">
              <a:buNone/>
              <a:defRPr sz="1200" b="1">
                <a:solidFill>
                  <a:schemeClr val="accent1"/>
                </a:solidFill>
              </a:defRPr>
            </a:lvl3pPr>
            <a:lvl4pPr marL="1371600" indent="0">
              <a:buNone/>
              <a:defRPr sz="1200" b="1">
                <a:solidFill>
                  <a:schemeClr val="accent1"/>
                </a:solidFill>
              </a:defRPr>
            </a:lvl4pPr>
            <a:lvl5pPr marL="1828800" indent="0">
              <a:buNone/>
              <a:defRPr sz="1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263037" y="3413405"/>
            <a:ext cx="294608" cy="29460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88688" y="3418501"/>
            <a:ext cx="294608" cy="29460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88688" y="1229232"/>
            <a:ext cx="4574349" cy="218383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278776" y="1229233"/>
            <a:ext cx="4486648" cy="217911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2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1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3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5962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438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107711"/>
            <a:ext cx="9085092" cy="64098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5321271" y="1943313"/>
            <a:ext cx="4441684" cy="29460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/>
          <p:cNvSpPr/>
          <p:nvPr/>
        </p:nvSpPr>
        <p:spPr>
          <a:xfrm>
            <a:off x="678568" y="1938251"/>
            <a:ext cx="4512286" cy="29967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9" name="Segnaposto grafico 18"/>
          <p:cNvSpPr>
            <a:spLocks noGrp="1"/>
          </p:cNvSpPr>
          <p:nvPr>
            <p:ph type="chart" sz="quarter" idx="23" hasCustomPrompt="1"/>
          </p:nvPr>
        </p:nvSpPr>
        <p:spPr>
          <a:xfrm>
            <a:off x="677158" y="2231321"/>
            <a:ext cx="4513696" cy="276673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20" name="Segnaposto grafico 18"/>
          <p:cNvSpPr>
            <a:spLocks noGrp="1"/>
          </p:cNvSpPr>
          <p:nvPr>
            <p:ph type="chart" sz="quarter" idx="24" hasCustomPrompt="1"/>
          </p:nvPr>
        </p:nvSpPr>
        <p:spPr>
          <a:xfrm>
            <a:off x="5356927" y="2231321"/>
            <a:ext cx="4406027" cy="276075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Diagram</a:t>
            </a:r>
          </a:p>
        </p:txBody>
      </p:sp>
      <p:sp>
        <p:nvSpPr>
          <p:cNvPr id="12" name="Segnaposto testo 16"/>
          <p:cNvSpPr>
            <a:spLocks noGrp="1"/>
          </p:cNvSpPr>
          <p:nvPr>
            <p:ph type="body" sz="quarter" idx="25"/>
          </p:nvPr>
        </p:nvSpPr>
        <p:spPr>
          <a:xfrm>
            <a:off x="879221" y="1917430"/>
            <a:ext cx="4311633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testo 16"/>
          <p:cNvSpPr>
            <a:spLocks noGrp="1"/>
          </p:cNvSpPr>
          <p:nvPr>
            <p:ph type="body" sz="quarter" idx="26"/>
          </p:nvPr>
        </p:nvSpPr>
        <p:spPr>
          <a:xfrm>
            <a:off x="5558629" y="1917430"/>
            <a:ext cx="4204325" cy="31389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 b="1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1722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927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60902" y="2344002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43942" y="2343580"/>
            <a:ext cx="2952000" cy="1612533"/>
          </a:xfrm>
          <a:prstGeom prst="rect">
            <a:avLst/>
          </a:prstGeom>
          <a:noFill/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rgbClr val="5F67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4" name="Segnaposto testo 16"/>
          <p:cNvSpPr>
            <a:spLocks noGrp="1"/>
          </p:cNvSpPr>
          <p:nvPr>
            <p:ph type="body" sz="quarter" idx="20"/>
          </p:nvPr>
        </p:nvSpPr>
        <p:spPr>
          <a:xfrm>
            <a:off x="3761608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6845354" y="4024923"/>
            <a:ext cx="2951294" cy="859692"/>
          </a:xfrm>
          <a:prstGeom prst="rect">
            <a:avLst/>
          </a:prstGeom>
          <a:solidFill>
            <a:schemeClr val="tx1"/>
          </a:solidFill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3761608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21" name="Rettangolo 20"/>
          <p:cNvSpPr/>
          <p:nvPr/>
        </p:nvSpPr>
        <p:spPr>
          <a:xfrm>
            <a:off x="6845354" y="1936548"/>
            <a:ext cx="2953410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it-IT" sz="1400" b="1">
                <a:solidFill>
                  <a:schemeClr val="bg2"/>
                </a:solidFill>
              </a:rPr>
              <a:t> LOREN IPSUM</a:t>
            </a: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22"/>
          </p:nvPr>
        </p:nvSpPr>
        <p:spPr>
          <a:xfrm>
            <a:off x="679450" y="1055688"/>
            <a:ext cx="9116492" cy="80962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endParaRPr lang="it-IT"/>
          </a:p>
        </p:txBody>
      </p:sp>
      <p:sp>
        <p:nvSpPr>
          <p:cNvPr id="2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2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6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98166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rodu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2712800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708343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4371811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6" name="Segnaposto immagine 10"/>
          <p:cNvSpPr>
            <a:spLocks noGrp="1"/>
          </p:cNvSpPr>
          <p:nvPr>
            <p:ph type="pic" sz="quarter" idx="20" hasCustomPrompt="1"/>
          </p:nvPr>
        </p:nvSpPr>
        <p:spPr>
          <a:xfrm>
            <a:off x="7335737" y="1580899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5300095" y="1576961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Segnaposto testo 16"/>
          <p:cNvSpPr>
            <a:spLocks noGrp="1"/>
          </p:cNvSpPr>
          <p:nvPr>
            <p:ph type="body" sz="quarter" idx="21"/>
          </p:nvPr>
        </p:nvSpPr>
        <p:spPr>
          <a:xfrm>
            <a:off x="5331280" y="1658233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0" name="Rettangolo 19"/>
          <p:cNvSpPr/>
          <p:nvPr/>
        </p:nvSpPr>
        <p:spPr>
          <a:xfrm>
            <a:off x="5300095" y="1233168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1" name="Segnaposto testo 3"/>
          <p:cNvSpPr>
            <a:spLocks noGrp="1"/>
          </p:cNvSpPr>
          <p:nvPr>
            <p:ph type="body" sz="quarter" idx="22" hasCustomPrompt="1"/>
          </p:nvPr>
        </p:nvSpPr>
        <p:spPr>
          <a:xfrm>
            <a:off x="5392240" y="1233168"/>
            <a:ext cx="4369492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2" name="Segnaposto immagine 10"/>
          <p:cNvSpPr>
            <a:spLocks noGrp="1"/>
          </p:cNvSpPr>
          <p:nvPr>
            <p:ph type="pic" sz="quarter" idx="23" hasCustomPrompt="1"/>
          </p:nvPr>
        </p:nvSpPr>
        <p:spPr>
          <a:xfrm>
            <a:off x="2712800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3" name="Rettangolo 22"/>
          <p:cNvSpPr/>
          <p:nvPr/>
        </p:nvSpPr>
        <p:spPr>
          <a:xfrm>
            <a:off x="677158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4"/>
          </p:nvPr>
        </p:nvSpPr>
        <p:spPr>
          <a:xfrm>
            <a:off x="708343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5" name="Rettangolo 24"/>
          <p:cNvSpPr/>
          <p:nvPr/>
        </p:nvSpPr>
        <p:spPr>
          <a:xfrm>
            <a:off x="677158" y="3193841"/>
            <a:ext cx="4463956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26" name="Segnaposto testo 3"/>
          <p:cNvSpPr>
            <a:spLocks noGrp="1"/>
          </p:cNvSpPr>
          <p:nvPr>
            <p:ph type="body" sz="quarter" idx="25" hasCustomPrompt="1"/>
          </p:nvPr>
        </p:nvSpPr>
        <p:spPr>
          <a:xfrm>
            <a:off x="769303" y="3193841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27" name="Segnaposto immagine 10"/>
          <p:cNvSpPr>
            <a:spLocks noGrp="1"/>
          </p:cNvSpPr>
          <p:nvPr>
            <p:ph type="pic" sz="quarter" idx="26" hasCustomPrompt="1"/>
          </p:nvPr>
        </p:nvSpPr>
        <p:spPr>
          <a:xfrm>
            <a:off x="7335737" y="3541572"/>
            <a:ext cx="2428313" cy="1395917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5300095" y="3537634"/>
            <a:ext cx="2097064" cy="139997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Segnaposto testo 16"/>
          <p:cNvSpPr>
            <a:spLocks noGrp="1"/>
          </p:cNvSpPr>
          <p:nvPr>
            <p:ph type="body" sz="quarter" idx="27"/>
          </p:nvPr>
        </p:nvSpPr>
        <p:spPr>
          <a:xfrm>
            <a:off x="5331280" y="3618906"/>
            <a:ext cx="2064938" cy="1316249"/>
          </a:xfrm>
          <a:prstGeom prst="rect">
            <a:avLst/>
          </a:prstGeom>
        </p:spPr>
        <p:txBody>
          <a:bodyPr vert="horz"/>
          <a:lstStyle>
            <a:lvl1pPr marL="72000" indent="0">
              <a:spcBef>
                <a:spcPts val="288"/>
              </a:spcBef>
              <a:spcAft>
                <a:spcPts val="0"/>
              </a:spcAft>
              <a:buNone/>
              <a:defRPr sz="1200" baseline="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0" name="Rettangolo 29"/>
          <p:cNvSpPr/>
          <p:nvPr/>
        </p:nvSpPr>
        <p:spPr>
          <a:xfrm>
            <a:off x="5300095" y="3193841"/>
            <a:ext cx="4461638" cy="35416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31" name="Segnaposto testo 3"/>
          <p:cNvSpPr>
            <a:spLocks noGrp="1"/>
          </p:cNvSpPr>
          <p:nvPr>
            <p:ph type="body" sz="quarter" idx="28" hasCustomPrompt="1"/>
          </p:nvPr>
        </p:nvSpPr>
        <p:spPr>
          <a:xfrm>
            <a:off x="5392240" y="3183469"/>
            <a:ext cx="4371810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34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33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35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18906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316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8568" y="1699846"/>
            <a:ext cx="2242397" cy="33899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tIns="93600"/>
          <a:lstStyle>
            <a:lvl1pPr marL="7200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33168"/>
            <a:ext cx="9084574" cy="3541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769303" y="1233168"/>
            <a:ext cx="8814203" cy="35416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pic>
        <p:nvPicPr>
          <p:cNvPr id="2" name="Immagine 1" descr="freccia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995" y="2857917"/>
            <a:ext cx="1839052" cy="1839052"/>
          </a:xfrm>
          <a:prstGeom prst="rect">
            <a:avLst/>
          </a:prstGeom>
        </p:spPr>
      </p:pic>
      <p:sp>
        <p:nvSpPr>
          <p:cNvPr id="10" name="Segnaposto risorsa multimediale 9"/>
          <p:cNvSpPr>
            <a:spLocks noGrp="1"/>
          </p:cNvSpPr>
          <p:nvPr>
            <p:ph type="media" sz="quarter" idx="20" hasCustomPrompt="1"/>
          </p:nvPr>
        </p:nvSpPr>
        <p:spPr>
          <a:xfrm>
            <a:off x="2921000" y="1700213"/>
            <a:ext cx="6840538" cy="338931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it-IT"/>
              <a:t>Multimedia clip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8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1249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17374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1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2688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450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1023074" y="464998"/>
            <a:ext cx="8893607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2" name="Segnaposto data 1"/>
          <p:cNvSpPr>
            <a:spLocks noGrp="1"/>
          </p:cNvSpPr>
          <p:nvPr>
            <p:ph type="dt" sz="half" idx="14"/>
          </p:nvPr>
        </p:nvSpPr>
        <p:spPr>
          <a:xfrm>
            <a:off x="764535" y="5661898"/>
            <a:ext cx="979233" cy="189012"/>
          </a:xfrm>
          <a:prstGeom prst="rect">
            <a:avLst/>
          </a:prstGeom>
        </p:spPr>
        <p:txBody>
          <a:bodyPr/>
          <a:lstStyle/>
          <a:p>
            <a:fld id="{B9C6BC69-A223-7D4A-AE22-15BEED04061C}" type="datetime1">
              <a:rPr lang="it-IT" smtClean="0"/>
              <a:pPr/>
              <a:t>27/09/2025</a:t>
            </a:fld>
            <a:endParaRPr lang="it-IT" dirty="0"/>
          </a:p>
        </p:txBody>
      </p:sp>
      <p:sp>
        <p:nvSpPr>
          <p:cNvPr id="6" name="Segnaposto testo 13"/>
          <p:cNvSpPr>
            <a:spLocks noGrp="1"/>
          </p:cNvSpPr>
          <p:nvPr>
            <p:ph type="body" sz="quarter" idx="20" hasCustomPrompt="1"/>
          </p:nvPr>
        </p:nvSpPr>
        <p:spPr>
          <a:xfrm>
            <a:off x="1743768" y="5662890"/>
            <a:ext cx="4227208" cy="18802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800"/>
            </a:lvl1pPr>
            <a:lvl2pPr marL="457200" indent="0" algn="l">
              <a:buNone/>
              <a:defRPr sz="800"/>
            </a:lvl2pPr>
            <a:lvl3pPr marL="914400" indent="0" algn="l">
              <a:buNone/>
              <a:defRPr sz="800"/>
            </a:lvl3pPr>
            <a:lvl4pPr marL="1371600" indent="0" algn="l">
              <a:buNone/>
              <a:defRPr sz="800"/>
            </a:lvl4pPr>
            <a:lvl5pPr marL="1828800" indent="0" algn="l">
              <a:buNone/>
              <a:defRPr sz="800"/>
            </a:lvl5pPr>
          </a:lstStyle>
          <a:p>
            <a:pPr lvl="0"/>
            <a:r>
              <a:rPr lang="it-IT" dirty="0"/>
              <a:t>Presentation </a:t>
            </a:r>
            <a:r>
              <a:rPr lang="it-IT" dirty="0" err="1"/>
              <a:t>title</a:t>
            </a:r>
            <a:endParaRPr lang="it-IT" dirty="0"/>
          </a:p>
        </p:txBody>
      </p:sp>
      <p:sp>
        <p:nvSpPr>
          <p:cNvPr id="5" name="Segnaposto numero diapositiva 15"/>
          <p:cNvSpPr txBox="1">
            <a:spLocks/>
          </p:cNvSpPr>
          <p:nvPr/>
        </p:nvSpPr>
        <p:spPr>
          <a:xfrm>
            <a:off x="5184312" y="5704116"/>
            <a:ext cx="452832" cy="3203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8F0DE3C-9064-0349-BF20-545D8B9674F8}" type="slidenum">
              <a:rPr lang="it-IT"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lang="it-IT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3666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78803" tIns="0" rIns="80064" bIns="0"/>
          <a:lstStyle>
            <a:lvl1pPr>
              <a:defRPr sz="1600"/>
            </a:lvl1pPr>
            <a:lvl2pPr>
              <a:spcBef>
                <a:spcPts val="0"/>
              </a:spcBef>
              <a:spcAft>
                <a:spcPts val="1403"/>
              </a:spcAft>
              <a:defRPr sz="1600"/>
            </a:lvl2pPr>
            <a:lvl3pPr marL="0" indent="0">
              <a:buNone/>
              <a:defRPr sz="1600" b="1"/>
            </a:lvl3pPr>
            <a:lvl4pPr marL="0" indent="0">
              <a:spcBef>
                <a:spcPts val="1200"/>
              </a:spcBef>
              <a:defRPr sz="3600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80064" tIns="40031" rIns="80064" bIns="40031" anchor="ctr" anchorCtr="0"/>
          <a:lstStyle>
            <a:lvl1pPr marL="0" marR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566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2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80064" tIns="40031" rIns="80064" bIns="4003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404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e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68" y="1324030"/>
            <a:ext cx="4950918" cy="40854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098391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31835" y="1333413"/>
            <a:ext cx="5053853" cy="645459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defRPr sz="1403" b="0"/>
            </a:lvl1pPr>
          </a:lstStyle>
          <a:p>
            <a:pPr lvl="0"/>
            <a:r>
              <a:rPr lang="sv-SE" dirty="0" err="1"/>
              <a:t>Introduction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31834" y="2128202"/>
            <a:ext cx="2486518" cy="3241162"/>
          </a:xfrm>
          <a:prstGeom prst="rect">
            <a:avLst/>
          </a:prstGeom>
        </p:spPr>
        <p:txBody>
          <a:bodyPr lIns="91304" tIns="45651" rIns="91304" bIns="45651"/>
          <a:lstStyle>
            <a:lvl1pPr>
              <a:spcBef>
                <a:spcPts val="1799"/>
              </a:spcBef>
              <a:spcAft>
                <a:spcPts val="1199"/>
              </a:spcAft>
              <a:defRPr sz="1637" b="1"/>
            </a:lvl1pPr>
            <a:lvl2pPr>
              <a:spcAft>
                <a:spcPts val="1199"/>
              </a:spcAft>
              <a:defRPr sz="1052"/>
            </a:lvl2pPr>
            <a:lvl3pPr>
              <a:defRPr sz="1052" b="1" baseline="0"/>
            </a:lvl3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700782" y="2129478"/>
            <a:ext cx="2484908" cy="3226658"/>
          </a:xfrm>
          <a:prstGeom prst="rect">
            <a:avLst/>
          </a:prstGeom>
        </p:spPr>
        <p:txBody>
          <a:bodyPr vert="horz" lIns="91304" tIns="45651" rIns="91304" bIns="45651" rtlCol="0">
            <a:normAutofit/>
          </a:bodyPr>
          <a:lstStyle>
            <a:lvl1pPr>
              <a:spcBef>
                <a:spcPts val="1799"/>
              </a:spcBef>
              <a:spcAft>
                <a:spcPts val="1199"/>
              </a:spcAft>
              <a:defRPr lang="en-US" sz="1637" b="1" smtClean="0"/>
            </a:lvl1pPr>
            <a:lvl2pPr>
              <a:spcAft>
                <a:spcPts val="1199"/>
              </a:spcAft>
              <a:defRPr lang="en-US" sz="1052" smtClean="0"/>
            </a:lvl2pPr>
            <a:lvl3pPr>
              <a:defRPr lang="en-US" sz="1052" b="1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Heading 1</a:t>
            </a:r>
          </a:p>
          <a:p>
            <a:pPr lvl="1"/>
            <a:r>
              <a:rPr lang="sv-SE" dirty="0"/>
              <a:t>Body</a:t>
            </a:r>
          </a:p>
          <a:p>
            <a:pPr lvl="2"/>
            <a:r>
              <a:rPr lang="sv-SE" dirty="0"/>
              <a:t>Final </a:t>
            </a:r>
            <a:r>
              <a:rPr lang="sv-SE" dirty="0" err="1"/>
              <a:t>stat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286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2674384" y="796477"/>
            <a:ext cx="4041339" cy="52214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it-IT"/>
              <a:t>INDEX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2671762" y="1329382"/>
            <a:ext cx="567790" cy="29438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b="1" i="1">
                <a:solidFill>
                  <a:srgbClr val="60656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N</a:t>
            </a:r>
          </a:p>
        </p:txBody>
      </p:sp>
      <p:sp>
        <p:nvSpPr>
          <p:cNvPr id="10" name="Segnaposto testo 9"/>
          <p:cNvSpPr>
            <a:spLocks noGrp="1"/>
          </p:cNvSpPr>
          <p:nvPr>
            <p:ph type="body" sz="quarter" idx="13" hasCustomPrompt="1"/>
          </p:nvPr>
        </p:nvSpPr>
        <p:spPr>
          <a:xfrm>
            <a:off x="3254973" y="1339501"/>
            <a:ext cx="3460750" cy="2933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rgbClr val="60656A"/>
                </a:solidFill>
                <a:latin typeface="Arial"/>
                <a:cs typeface="Arial"/>
              </a:defRPr>
            </a:lvl1pPr>
            <a:lvl3pPr marL="0">
              <a:defRPr sz="1200" baseline="0">
                <a:solidFill>
                  <a:srgbClr val="60656A"/>
                </a:solidFill>
              </a:defRPr>
            </a:lvl3pPr>
          </a:lstStyle>
          <a:p>
            <a:pPr lvl="0"/>
            <a:r>
              <a:rPr lang="it-IT"/>
              <a:t>First level</a:t>
            </a:r>
          </a:p>
          <a:p>
            <a:pPr lvl="2"/>
            <a:r>
              <a:rPr lang="it-IT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324759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rmatted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135687" y="1324030"/>
            <a:ext cx="4629853" cy="3888112"/>
          </a:xfrm>
          <a:prstGeom prst="rect">
            <a:avLst/>
          </a:prstGeom>
          <a:noFill/>
        </p:spPr>
        <p:txBody>
          <a:bodyPr lIns="89865" tIns="0" rIns="91304" bIns="0"/>
          <a:lstStyle>
            <a:lvl1pPr>
              <a:defRPr sz="1637"/>
            </a:lvl1pPr>
            <a:lvl2pPr>
              <a:spcBef>
                <a:spcPts val="0"/>
              </a:spcBef>
              <a:spcAft>
                <a:spcPts val="1403"/>
              </a:spcAft>
              <a:defRPr sz="1637"/>
            </a:lvl2pPr>
            <a:lvl3pPr marL="0" indent="0">
              <a:buNone/>
              <a:defRPr sz="1637" b="1"/>
            </a:lvl3pPr>
            <a:lvl4pPr marL="0" indent="0">
              <a:spcBef>
                <a:spcPts val="1199"/>
              </a:spcBef>
              <a:defRPr sz="3623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7619098" y="1609006"/>
            <a:ext cx="3069557" cy="1270748"/>
          </a:xfrm>
          <a:prstGeom prst="rect">
            <a:avLst/>
          </a:prstGeom>
          <a:solidFill>
            <a:srgbClr val="424546"/>
          </a:solidFill>
        </p:spPr>
        <p:txBody>
          <a:bodyPr lIns="91304" tIns="45651" rIns="91304" bIns="45651" anchor="ctr" anchorCtr="0"/>
          <a:lstStyle>
            <a:lvl1pPr marL="0" marR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0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 sz="1403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l" defTabSz="649418" rtl="0" eaLnBrk="1" fontAlgn="auto" latinLnBrk="0" hangingPunct="1">
              <a:lnSpc>
                <a:spcPct val="90000"/>
              </a:lnSpc>
              <a:spcBef>
                <a:spcPts val="712"/>
              </a:spcBef>
              <a:spcAft>
                <a:spcPts val="2101"/>
              </a:spcAft>
              <a:buClr>
                <a:schemeClr val="tx2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lang="en-US" dirty="0"/>
              <a:t>! Insert a background image: Choose [Picture fill]</a:t>
            </a:r>
            <a:br>
              <a:rPr lang="en-US" dirty="0"/>
            </a:br>
            <a:r>
              <a:rPr lang="en-US" dirty="0"/>
              <a:t>! Format font: Choose [Increase List Level]</a:t>
            </a:r>
            <a:br>
              <a:rPr lang="en-US" dirty="0"/>
            </a:br>
            <a:r>
              <a:rPr lang="en-US" dirty="0"/>
              <a:t>Don’t write anything in this text box.</a:t>
            </a:r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7"/>
          </p:nvPr>
        </p:nvSpPr>
        <p:spPr>
          <a:xfrm>
            <a:off x="6277720" y="1366740"/>
            <a:ext cx="3948858" cy="3201438"/>
          </a:xfrm>
          <a:prstGeom prst="rect">
            <a:avLst/>
          </a:prstGeom>
        </p:spPr>
        <p:txBody>
          <a:bodyPr lIns="91304" tIns="45651" rIns="91304" bIns="4565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0229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" y="-79653"/>
            <a:ext cx="10984280" cy="6147485"/>
            <a:chOff x="1" y="-68094"/>
            <a:chExt cx="9396918" cy="5255370"/>
          </a:xfrm>
        </p:grpSpPr>
        <p:sp>
          <p:nvSpPr>
            <p:cNvPr id="15" name="Rectangle 33"/>
            <p:cNvSpPr/>
            <p:nvPr userDrawn="1"/>
          </p:nvSpPr>
          <p:spPr>
            <a:xfrm>
              <a:off x="4309607" y="0"/>
              <a:ext cx="4834393" cy="5187276"/>
            </a:xfrm>
            <a:custGeom>
              <a:avLst/>
              <a:gdLst>
                <a:gd name="connsiteX0" fmla="*/ 0 w 2701992"/>
                <a:gd name="connsiteY0" fmla="*/ 0 h 5154198"/>
                <a:gd name="connsiteX1" fmla="*/ 2701992 w 2701992"/>
                <a:gd name="connsiteY1" fmla="*/ 0 h 5154198"/>
                <a:gd name="connsiteX2" fmla="*/ 2701992 w 2701992"/>
                <a:gd name="connsiteY2" fmla="*/ 5154198 h 5154198"/>
                <a:gd name="connsiteX3" fmla="*/ 0 w 2701992"/>
                <a:gd name="connsiteY3" fmla="*/ 5154198 h 5154198"/>
                <a:gd name="connsiteX4" fmla="*/ 0 w 2701992"/>
                <a:gd name="connsiteY4" fmla="*/ 0 h 5154198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  <a:gd name="connsiteX0" fmla="*/ 1884459 w 4586451"/>
                <a:gd name="connsiteY0" fmla="*/ 0 h 5178052"/>
                <a:gd name="connsiteX1" fmla="*/ 4586451 w 4586451"/>
                <a:gd name="connsiteY1" fmla="*/ 0 h 5178052"/>
                <a:gd name="connsiteX2" fmla="*/ 4586451 w 4586451"/>
                <a:gd name="connsiteY2" fmla="*/ 5154198 h 5178052"/>
                <a:gd name="connsiteX3" fmla="*/ 0 w 4586451"/>
                <a:gd name="connsiteY3" fmla="*/ 5178052 h 5178052"/>
                <a:gd name="connsiteX4" fmla="*/ 1884459 w 4586451"/>
                <a:gd name="connsiteY4" fmla="*/ 0 h 517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86451" h="5178052">
                  <a:moveTo>
                    <a:pt x="1884459" y="0"/>
                  </a:moveTo>
                  <a:lnTo>
                    <a:pt x="4586451" y="0"/>
                  </a:lnTo>
                  <a:lnTo>
                    <a:pt x="4586451" y="5154198"/>
                  </a:lnTo>
                  <a:lnTo>
                    <a:pt x="0" y="5178052"/>
                  </a:lnTo>
                  <a:cubicBezTo>
                    <a:pt x="2584174" y="2792077"/>
                    <a:pt x="2194560" y="907032"/>
                    <a:pt x="1884459" y="0"/>
                  </a:cubicBezTo>
                  <a:close/>
                </a:path>
              </a:pathLst>
            </a:custGeom>
            <a:solidFill>
              <a:schemeClr val="bg2">
                <a:lumMod val="85000"/>
                <a:alpha val="87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533620"/>
              <a:endParaRPr lang="en-US" sz="2104" kern="0" dirty="0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" y="-68094"/>
              <a:ext cx="9396918" cy="525537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15246" y="1675730"/>
            <a:ext cx="6255125" cy="1033792"/>
          </a:xfrm>
        </p:spPr>
        <p:txBody>
          <a:bodyPr anchor="t" anchorCtr="0">
            <a:noAutofit/>
          </a:bodyPr>
          <a:lstStyle>
            <a:lvl1pPr>
              <a:defRPr sz="3273" b="0" spc="73" baseline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sv-S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15246" y="2791442"/>
            <a:ext cx="3999644" cy="864181"/>
          </a:xfrm>
          <a:effectLst/>
        </p:spPr>
        <p:txBody>
          <a:bodyPr lIns="0">
            <a:normAutofit/>
          </a:bodyPr>
          <a:lstStyle>
            <a:lvl1pPr marL="0" indent="0">
              <a:buNone/>
              <a:defRPr sz="1637">
                <a:gradFill flip="none" rotWithShape="1">
                  <a:gsLst>
                    <a:gs pos="0">
                      <a:schemeClr val="accent5">
                        <a:lumMod val="67000"/>
                      </a:schemeClr>
                    </a:gs>
                    <a:gs pos="48000">
                      <a:schemeClr val="accent5">
                        <a:lumMod val="97000"/>
                        <a:lumOff val="3000"/>
                      </a:schemeClr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  <a:effectLst>
                  <a:glow rad="1435100">
                    <a:schemeClr val="accent1">
                      <a:lumMod val="50000"/>
                      <a:alpha val="40000"/>
                    </a:schemeClr>
                  </a:glow>
                </a:effectLst>
              </a:defRPr>
            </a:lvl1pPr>
          </a:lstStyle>
          <a:p>
            <a:pPr lvl="0"/>
            <a:r>
              <a:rPr lang="en-US" dirty="0"/>
              <a:t>Click to add sub-title (optional)</a:t>
            </a:r>
          </a:p>
        </p:txBody>
      </p:sp>
      <p:pic>
        <p:nvPicPr>
          <p:cNvPr id="8" name="Immagine 11" descr="logo Coesia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824" y="5431861"/>
            <a:ext cx="1420242" cy="287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415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6">
          <p15:clr>
            <a:srgbClr val="FBAE40"/>
          </p15:clr>
        </p15:guide>
        <p15:guide id="2" pos="44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2"/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8457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322695" y="2418172"/>
            <a:ext cx="4041339" cy="522143"/>
          </a:xfrm>
          <a:prstGeom prst="rect">
            <a:avLst/>
          </a:prstGeom>
        </p:spPr>
        <p:txBody>
          <a:bodyPr/>
          <a:lstStyle>
            <a:lvl1pPr algn="ctr">
              <a:defRPr sz="2300" b="1">
                <a:solidFill>
                  <a:schemeClr val="tx1"/>
                </a:solidFill>
              </a:defRPr>
            </a:lvl1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2578344" y="5568212"/>
            <a:ext cx="1700213" cy="4000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 b="1">
                <a:latin typeface="Arial"/>
                <a:cs typeface="Arial"/>
              </a:defRPr>
            </a:lvl1pPr>
            <a:lvl2pPr marL="457200" indent="0" algn="ctr">
              <a:buNone/>
              <a:defRPr sz="1200" b="1"/>
            </a:lvl2pPr>
            <a:lvl3pPr marL="914400" indent="0" algn="ctr">
              <a:buNone/>
              <a:defRPr sz="1200" b="1"/>
            </a:lvl3pPr>
            <a:lvl4pPr marL="1371600" indent="0" algn="ctr">
              <a:buNone/>
              <a:defRPr sz="1200" b="1"/>
            </a:lvl4pPr>
            <a:lvl5pPr marL="1828800" indent="0" algn="ctr">
              <a:buNone/>
              <a:defRPr sz="1200" b="1"/>
            </a:lvl5pPr>
          </a:lstStyle>
          <a:p>
            <a:pPr lvl="0"/>
            <a:r>
              <a:rPr lang="it-IT"/>
              <a:t>Fare clic per 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21056191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6450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2" name="Segnaposto immagine 10"/>
          <p:cNvSpPr>
            <a:spLocks noGrp="1"/>
          </p:cNvSpPr>
          <p:nvPr>
            <p:ph type="pic" sz="quarter" idx="15" hasCustomPrompt="1"/>
          </p:nvPr>
        </p:nvSpPr>
        <p:spPr>
          <a:xfrm>
            <a:off x="3780440" y="2246313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3" name="Segnaposto immagine 10"/>
          <p:cNvSpPr>
            <a:spLocks noGrp="1"/>
          </p:cNvSpPr>
          <p:nvPr>
            <p:ph type="pic" sz="quarter" idx="16" hasCustomPrompt="1"/>
          </p:nvPr>
        </p:nvSpPr>
        <p:spPr>
          <a:xfrm>
            <a:off x="6883018" y="2245891"/>
            <a:ext cx="2952000" cy="1219200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7"/>
          </p:nvPr>
        </p:nvSpPr>
        <p:spPr>
          <a:xfrm>
            <a:off x="677863" y="1146175"/>
            <a:ext cx="9157155" cy="11001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44059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262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218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74082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677862" y="1213039"/>
            <a:ext cx="9174787" cy="2252474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174786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8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9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278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153596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4" hasCustomPrompt="1"/>
          </p:nvPr>
        </p:nvSpPr>
        <p:spPr>
          <a:xfrm>
            <a:off x="3250899" y="1213038"/>
            <a:ext cx="6581265" cy="3525649"/>
          </a:xfrm>
          <a:prstGeom prst="rect">
            <a:avLst/>
          </a:prstGeom>
        </p:spPr>
        <p:txBody>
          <a:bodyPr vert="horz"/>
          <a:lstStyle>
            <a:lvl1pPr marL="0" indent="0" algn="ctr"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8" name="Rettangolo 7"/>
          <p:cNvSpPr/>
          <p:nvPr/>
        </p:nvSpPr>
        <p:spPr>
          <a:xfrm>
            <a:off x="677158" y="1556643"/>
            <a:ext cx="2573741" cy="318204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556643"/>
            <a:ext cx="2573037" cy="31820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Rettangolo 6"/>
          <p:cNvSpPr/>
          <p:nvPr/>
        </p:nvSpPr>
        <p:spPr>
          <a:xfrm>
            <a:off x="677158" y="1212850"/>
            <a:ext cx="2573741" cy="34379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60656A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9" hasCustomPrompt="1"/>
          </p:nvPr>
        </p:nvSpPr>
        <p:spPr>
          <a:xfrm>
            <a:off x="677863" y="1212851"/>
            <a:ext cx="2573337" cy="34379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l">
              <a:buNone/>
              <a:defRPr sz="1400" b="1"/>
            </a:lvl2pPr>
            <a:lvl3pPr marL="914400" indent="0" algn="l">
              <a:buNone/>
              <a:defRPr sz="1400" b="1"/>
            </a:lvl3pPr>
            <a:lvl4pPr marL="1371600" indent="0" algn="l">
              <a:buNone/>
              <a:defRPr sz="1400" b="1"/>
            </a:lvl4pPr>
            <a:lvl5pPr marL="1828800" indent="0" algn="l">
              <a:buNone/>
              <a:defRPr sz="1400" b="1"/>
            </a:lvl5pPr>
          </a:lstStyle>
          <a:p>
            <a:pPr lvl="0"/>
            <a:r>
              <a:rPr lang="it-IT"/>
              <a:t>Title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20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6684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single images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86145" cy="390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1777814"/>
            <a:ext cx="2715678" cy="272722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5" name="Segnaposto testo 16"/>
          <p:cNvSpPr>
            <a:spLocks noGrp="1"/>
          </p:cNvSpPr>
          <p:nvPr>
            <p:ph type="body" sz="quarter" idx="19"/>
          </p:nvPr>
        </p:nvSpPr>
        <p:spPr>
          <a:xfrm>
            <a:off x="678568" y="1214127"/>
            <a:ext cx="2715678" cy="56368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" name="Segnaposto immagine 6"/>
          <p:cNvSpPr>
            <a:spLocks noGrp="1"/>
          </p:cNvSpPr>
          <p:nvPr>
            <p:ph type="pic" sz="quarter" idx="20" hasCustomPrompt="1"/>
          </p:nvPr>
        </p:nvSpPr>
        <p:spPr>
          <a:xfrm>
            <a:off x="3394075" y="1214438"/>
            <a:ext cx="6370638" cy="329088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Image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47506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8"/>
          <p:cNvSpPr>
            <a:spLocks noGrp="1"/>
          </p:cNvSpPr>
          <p:nvPr>
            <p:ph type="body" sz="quarter" idx="13" hasCustomPrompt="1"/>
          </p:nvPr>
        </p:nvSpPr>
        <p:spPr>
          <a:xfrm>
            <a:off x="678568" y="464994"/>
            <a:ext cx="9095642" cy="390525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/>
              <a:t>Slide title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8"/>
          </p:nvPr>
        </p:nvSpPr>
        <p:spPr>
          <a:xfrm>
            <a:off x="677863" y="3465513"/>
            <a:ext cx="9096347" cy="12731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60656A"/>
                </a:solidFill>
              </a:defRPr>
            </a:lvl1pPr>
            <a:lvl2pPr marL="457200" indent="0">
              <a:buNone/>
              <a:defRPr sz="1400">
                <a:solidFill>
                  <a:srgbClr val="60656A"/>
                </a:solidFill>
              </a:defRPr>
            </a:lvl2pPr>
            <a:lvl3pPr marL="914400" indent="0">
              <a:buNone/>
              <a:defRPr sz="1400">
                <a:solidFill>
                  <a:srgbClr val="60656A"/>
                </a:solidFill>
              </a:defRPr>
            </a:lvl3pPr>
            <a:lvl4pPr marL="1371600" indent="0">
              <a:buNone/>
              <a:defRPr sz="1400">
                <a:solidFill>
                  <a:srgbClr val="60656A"/>
                </a:solidFill>
              </a:defRPr>
            </a:lvl4pPr>
            <a:lvl5pPr marL="1828800" indent="0">
              <a:buNone/>
              <a:defRPr sz="1400">
                <a:solidFill>
                  <a:srgbClr val="60656A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sz="quarter" idx="19" hasCustomPrompt="1"/>
          </p:nvPr>
        </p:nvSpPr>
        <p:spPr>
          <a:xfrm>
            <a:off x="677863" y="1138238"/>
            <a:ext cx="9096347" cy="232727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>
                <a:solidFill>
                  <a:srgbClr val="60656A"/>
                </a:solidFill>
              </a:defRPr>
            </a:lvl1pPr>
          </a:lstStyle>
          <a:p>
            <a:r>
              <a:rPr lang="it-IT"/>
              <a:t>Grid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8485866" y="5690164"/>
            <a:ext cx="2133554" cy="212296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826622" y="5690163"/>
            <a:ext cx="3224678" cy="2131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2" name="Segnaposto data 11"/>
          <p:cNvSpPr>
            <a:spLocks noGrp="1"/>
          </p:cNvSpPr>
          <p:nvPr>
            <p:ph type="dt" sz="half" idx="2"/>
          </p:nvPr>
        </p:nvSpPr>
        <p:spPr>
          <a:xfrm>
            <a:off x="98072" y="5690164"/>
            <a:ext cx="842849" cy="213103"/>
          </a:xfrm>
          <a:prstGeom prst="rect">
            <a:avLst/>
          </a:prstGeom>
        </p:spPr>
        <p:txBody>
          <a:bodyPr vert="horz" lIns="72000" tIns="45720" rIns="72000" bIns="4680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B9C6BC69-A223-7D4A-AE22-15BEED04061C}" type="datetime1">
              <a:rPr lang="it-IT"/>
              <a:pPr/>
              <a:t>27/09/20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5976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2.vml"/><Relationship Id="rId7" Type="http://schemas.openxmlformats.org/officeDocument/2006/relationships/image" Target="../media/image1.emf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12.bin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10" Type="http://schemas.openxmlformats.org/officeDocument/2006/relationships/image" Target="../media/image5.png"/><Relationship Id="rId4" Type="http://schemas.openxmlformats.org/officeDocument/2006/relationships/theme" Target="../theme/theme2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3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6.vml"/><Relationship Id="rId7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6.bin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7.vml"/><Relationship Id="rId7" Type="http://schemas.openxmlformats.org/officeDocument/2006/relationships/image" Target="../media/image1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8.xml"/><Relationship Id="rId6" Type="http://schemas.openxmlformats.org/officeDocument/2006/relationships/oleObject" Target="../embeddings/oleObject7.bin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1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8.vml"/><Relationship Id="rId7" Type="http://schemas.openxmlformats.org/officeDocument/2006/relationships/image" Target="../media/image1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8.bin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2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2.png"/><Relationship Id="rId2" Type="http://schemas.openxmlformats.org/officeDocument/2006/relationships/vmlDrawing" Target="../drawings/vmlDrawing9.vml"/><Relationship Id="rId1" Type="http://schemas.openxmlformats.org/officeDocument/2006/relationships/theme" Target="../theme/theme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.bin"/><Relationship Id="rId4" Type="http://schemas.openxmlformats.org/officeDocument/2006/relationships/tags" Target="../tags/tag1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vmlDrawing" Target="../drawings/vmlDrawing10.vml"/><Relationship Id="rId7" Type="http://schemas.openxmlformats.org/officeDocument/2006/relationships/image" Target="../media/image1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0.xml"/><Relationship Id="rId6" Type="http://schemas.openxmlformats.org/officeDocument/2006/relationships/oleObject" Target="../embeddings/oleObject10.bin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2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4.png"/><Relationship Id="rId2" Type="http://schemas.openxmlformats.org/officeDocument/2006/relationships/vmlDrawing" Target="../drawings/vmlDrawing11.vml"/><Relationship Id="rId1" Type="http://schemas.openxmlformats.org/officeDocument/2006/relationships/theme" Target="../theme/theme9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xmlns="" id="{806360A6-C612-49A8-98A1-B1A844B18F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14101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2486" y="0"/>
            <a:ext cx="6574240" cy="4173186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0688635" cy="601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802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40000"/>
                <a:lumOff val="60000"/>
              </a:schemeClr>
            </a:gs>
            <a:gs pos="46000">
              <a:schemeClr val="accent5">
                <a:lumMod val="95000"/>
                <a:lumOff val="5000"/>
              </a:schemeClr>
            </a:gs>
            <a:gs pos="100000">
              <a:schemeClr val="accent5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xmlns="" id="{9322E714-FBEE-4145-8597-9978C4C42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9449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62FA0B85-488D-4AE4-862F-D64B51F1802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86" y="328617"/>
            <a:ext cx="8168989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6652868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9028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09372" indent="-209372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Char char=""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418743" indent="-13896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628118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xmlns="" id="{4D1C2F66-66AE-480C-88C5-6432EFBA8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9353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061708" cy="6008931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1108" y="5414677"/>
            <a:ext cx="90782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94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87" r:id="rId2"/>
    <p:sldLayoutId id="2147483688" r:id="rId3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rgbClr val="D70A0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5655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Diapositiva think-cell" r:id="rId16" imgW="270" imgH="270" progId="TCLayout.ActiveDocument.1">
                  <p:embed/>
                </p:oleObj>
              </mc:Choice>
              <mc:Fallback>
                <p:oleObj name="Diapositiva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77158" y="5260704"/>
            <a:ext cx="3382268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resentation title</a:t>
            </a:r>
            <a:endParaRPr lang="it-IT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4059426" y="5256213"/>
            <a:ext cx="2493962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26739B6E-F0F0-0749-A211-262B46D51482}" type="slidenum">
              <a:rPr lang="it-IT"/>
              <a:pPr/>
              <a:t>‹#›</a:t>
            </a:fld>
            <a:endParaRPr lang="it-IT"/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0287000" cy="2298700"/>
          </a:xfrm>
          <a:prstGeom prst="rect">
            <a:avLst/>
          </a:prstGeom>
        </p:spPr>
      </p:pic>
      <p:pic>
        <p:nvPicPr>
          <p:cNvPr id="13" name="Immagine 12" descr="PPT_16_9_GD-03 copia.png"/>
          <p:cNvPicPr>
            <a:picLocks noChangeAspect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01100" y="3873499"/>
            <a:ext cx="1900238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390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5" r:id="rId2"/>
    <p:sldLayoutId id="2147483666" r:id="rId3"/>
    <p:sldLayoutId id="2147483670" r:id="rId4"/>
    <p:sldLayoutId id="2147483668" r:id="rId5"/>
    <p:sldLayoutId id="2147483667" r:id="rId6"/>
    <p:sldLayoutId id="2147483671" r:id="rId7"/>
    <p:sldLayoutId id="2147483673" r:id="rId8"/>
    <p:sldLayoutId id="2147483669" r:id="rId9"/>
    <p:sldLayoutId id="2147483672" r:id="rId10"/>
    <p:sldLayoutId id="2147483686" r:id="rId11"/>
    <p:sldLayoutId id="2147483689" r:id="rId12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xmlns="" id="{7B0C7B7E-F192-4DDB-A370-11C614CB6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44559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xmlns="" id="{59BA6DC0-A791-4D09-8A83-9C21E33E28A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0031" rIns="80064" bIns="4003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email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3383089" y="5710074"/>
            <a:ext cx="2493962" cy="320675"/>
          </a:xfrm>
          <a:prstGeom prst="rect">
            <a:avLst/>
          </a:prstGeom>
        </p:spPr>
        <p:txBody>
          <a:bodyPr lIns="91292" tIns="45645" rIns="91292" bIns="45645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00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35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</p:sldLayoutIdLst>
  <p:hf sldNum="0" hdr="0"/>
  <p:txStyles>
    <p:titleStyle>
      <a:lvl1pPr algn="l" defTabSz="650026" rtl="0" eaLnBrk="1" latinLnBrk="0" hangingPunct="1">
        <a:lnSpc>
          <a:spcPct val="90000"/>
        </a:lnSpc>
        <a:spcBef>
          <a:spcPct val="0"/>
        </a:spcBef>
        <a:buNone/>
        <a:defRPr sz="3700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50026" rtl="0" eaLnBrk="1" latinLnBrk="0" hangingPunct="1">
        <a:lnSpc>
          <a:spcPct val="90000"/>
        </a:lnSpc>
        <a:spcBef>
          <a:spcPts val="712"/>
        </a:spcBef>
        <a:spcAft>
          <a:spcPts val="2105"/>
        </a:spcAft>
        <a:buClr>
          <a:schemeClr val="tx2"/>
        </a:buClr>
        <a:buFont typeface="Wingdings 2" panose="05020102010507070707" pitchFamily="18" charset="2"/>
        <a:buNone/>
        <a:defRPr lang="en-US" sz="16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200148" indent="-200148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3pPr>
      <a:lvl4pPr marL="975046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indent="0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87569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112590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437604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62621" indent="-162505" algn="l" defTabSz="650026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13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5002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7504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04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071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080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096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109" algn="l" defTabSz="65002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xmlns="" id="{1757F136-FA5A-4D88-80E6-1F8CE6FF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9163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A85F65EE-61EA-4DBF-83E0-BF0ADD626DC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ttangolo 8"/>
          <p:cNvSpPr/>
          <p:nvPr userDrawn="1"/>
        </p:nvSpPr>
        <p:spPr>
          <a:xfrm>
            <a:off x="-4626" y="22"/>
            <a:ext cx="6312188" cy="6016621"/>
          </a:xfrm>
          <a:prstGeom prst="rect">
            <a:avLst/>
          </a:prstGeom>
          <a:solidFill>
            <a:sysClr val="windowText" lastClr="000000">
              <a:lumMod val="75000"/>
              <a:lumOff val="25000"/>
              <a:alpha val="82000"/>
            </a:sys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5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70" y="1324046"/>
            <a:ext cx="4950569" cy="409569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9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0" name="Segnaposto numero diapositiva 15"/>
          <p:cNvSpPr txBox="1">
            <a:spLocks/>
          </p:cNvSpPr>
          <p:nvPr userDrawn="1"/>
        </p:nvSpPr>
        <p:spPr>
          <a:xfrm>
            <a:off x="4097338" y="5710074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4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86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2805"/>
        </a:spcBef>
        <a:spcAft>
          <a:spcPts val="0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333509" indent="-333509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637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xmlns="" id="{77CBD9E6-2CE6-43C7-9999-674C4D128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8617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xmlns="" id="{A6980AB4-ECF4-48D4-88C2-C06EAD44374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ttangolo 14"/>
          <p:cNvSpPr/>
          <p:nvPr userDrawn="1"/>
        </p:nvSpPr>
        <p:spPr>
          <a:xfrm>
            <a:off x="0" y="-16024"/>
            <a:ext cx="6312188" cy="6048672"/>
          </a:xfrm>
          <a:prstGeom prst="rect">
            <a:avLst/>
          </a:prstGeom>
          <a:solidFill>
            <a:schemeClr val="accent6">
              <a:lumMod val="25000"/>
              <a:alpha val="9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6728" tIns="53363" rIns="106728" bIns="53363" rtlCol="0" anchor="ctr"/>
          <a:lstStyle/>
          <a:p>
            <a:pPr algn="ctr" defTabSz="701899"/>
            <a:endParaRPr lang="it-IT" sz="1753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5747072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8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12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3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484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</p:sldLayoutIdLst>
  <p:hf sldNum="0" hdr="0"/>
  <p:txStyles>
    <p:titleStyle>
      <a:lvl1pPr algn="l" defTabSz="64941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41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133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indent="0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5903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061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5324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0037" indent="-162353" algn="l" defTabSz="649418" rtl="0" eaLnBrk="1" latinLnBrk="0" hangingPunct="1">
        <a:lnSpc>
          <a:spcPct val="90000"/>
        </a:lnSpc>
        <a:spcBef>
          <a:spcPts val="354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711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41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133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8834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3552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825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2968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7677" algn="l" defTabSz="64941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9930175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xmlns="" id="{B8E84D0A-0DF2-4492-953F-C944F7C598A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ttangolo 3"/>
          <p:cNvSpPr/>
          <p:nvPr userDrawn="1"/>
        </p:nvSpPr>
        <p:spPr>
          <a:xfrm>
            <a:off x="0" y="0"/>
            <a:ext cx="10688638" cy="609435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66000"/>
                </a:schemeClr>
              </a:gs>
              <a:gs pos="39500">
                <a:srgbClr val="252829">
                  <a:alpha val="79000"/>
                </a:srgbClr>
              </a:gs>
              <a:gs pos="18000">
                <a:schemeClr val="accent1">
                  <a:lumMod val="50000"/>
                  <a:alpha val="39000"/>
                </a:schemeClr>
              </a:gs>
              <a:gs pos="78000">
                <a:srgbClr val="181A1B">
                  <a:alpha val="37000"/>
                </a:srgbClr>
              </a:gs>
              <a:gs pos="55000">
                <a:schemeClr val="accent1">
                  <a:lumMod val="26000"/>
                  <a:alpha val="43000"/>
                </a:schemeClr>
              </a:gs>
              <a:gs pos="98000">
                <a:schemeClr val="accent1">
                  <a:lumMod val="24000"/>
                  <a:alpha val="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106728" tIns="53363" rIns="106728" bIns="53363" rtlCol="0" anchor="ctr"/>
          <a:lstStyle/>
          <a:p>
            <a:pPr algn="ctr" defTabSz="533620">
              <a:defRPr/>
            </a:pPr>
            <a:endParaRPr lang="it-IT" sz="2104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8" y="328617"/>
            <a:ext cx="8581808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Immagine 5" descr="LOGO COESIA NEG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785520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xmlns="" id="{08B70646-CBD9-44F3-A0E6-415A68C252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24441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xmlns="" id="{EF1716FB-0984-41E0-ABE5-1412DA28DF3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11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3211" y="-380995"/>
            <a:ext cx="1981200" cy="277216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screen">
            <a:alphaModFix amt="4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70024" y="3501044"/>
            <a:ext cx="1712278" cy="2529705"/>
          </a:xfrm>
          <a:prstGeom prst="rect">
            <a:avLst/>
          </a:prstGeom>
        </p:spPr>
      </p:pic>
      <p:sp>
        <p:nvSpPr>
          <p:cNvPr id="6" name="Segnaposto numero diapositiva 15"/>
          <p:cNvSpPr txBox="1">
            <a:spLocks/>
          </p:cNvSpPr>
          <p:nvPr userDrawn="1"/>
        </p:nvSpPr>
        <p:spPr>
          <a:xfrm>
            <a:off x="4097338" y="5703903"/>
            <a:ext cx="2493962" cy="320675"/>
          </a:xfrm>
          <a:prstGeom prst="rect">
            <a:avLst/>
          </a:prstGeom>
        </p:spPr>
        <p:txBody>
          <a:bodyPr lIns="91271" tIns="45634" rIns="91271" bIns="45634" anchor="ctr"/>
          <a:lstStyle>
            <a:lvl1pPr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fld id="{D1483C18-E96F-D447-B307-FB89C4216318}" type="slidenum">
              <a:rPr lang="it-IT" sz="818">
                <a:solidFill>
                  <a:srgbClr val="FFFFFF"/>
                </a:solidFill>
                <a:cs typeface="Arial" charset="0"/>
              </a:rPr>
              <a:pPr algn="ctr" eaLnBrk="1" hangingPunct="1"/>
              <a:t>‹#›</a:t>
            </a:fld>
            <a:endParaRPr lang="it-IT" sz="818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Immagine 5" descr="LOGO COESIA NEG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3497" y="5483720"/>
            <a:ext cx="1104633" cy="22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9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spcAft>
          <a:spcPts val="2104"/>
        </a:spcAft>
        <a:buClr>
          <a:schemeClr val="tx2"/>
        </a:buClr>
        <a:buFont typeface="Wingdings 2" panose="05020102010507070707" pitchFamily="18" charset="2"/>
        <a:buNone/>
        <a:defRPr lang="en-US" sz="1637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637" kern="1200">
          <a:solidFill>
            <a:schemeClr val="bg1"/>
          </a:solidFill>
          <a:latin typeface="+mn-lt"/>
          <a:ea typeface="+mn-ea"/>
          <a:cs typeface="+mn-cs"/>
        </a:defRPr>
      </a:lvl2pPr>
      <a:lvl3pPr marL="200102" indent="-200102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052" kern="1200">
          <a:solidFill>
            <a:schemeClr val="bg1"/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5">
                <a:lumMod val="0"/>
                <a:lumOff val="100000"/>
              </a:schemeClr>
            </a:gs>
            <a:gs pos="35000">
              <a:schemeClr val="accent5">
                <a:lumMod val="0"/>
                <a:lumOff val="100000"/>
              </a:schemeClr>
            </a:gs>
            <a:gs pos="100000">
              <a:schemeClr val="accent5">
                <a:lumMod val="1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7953343"/>
              </p:ext>
            </p:extLst>
          </p:nvPr>
        </p:nvGraphicFramePr>
        <p:xfrm>
          <a:off x="1860" y="1858"/>
          <a:ext cx="1855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0" y="1858"/>
                        <a:ext cx="1855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>
            <a:extLst>
              <a:ext uri="{FF2B5EF4-FFF2-40B4-BE49-F238E27FC236}">
                <a16:creationId xmlns:a16="http://schemas.microsoft.com/office/drawing/2014/main" xmlns="" id="{70F06448-8C35-431F-878F-42CCA4A1FB3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741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167" y="328617"/>
            <a:ext cx="8581806" cy="521493"/>
          </a:xfrm>
          <a:prstGeom prst="rect">
            <a:avLst/>
          </a:prstGeom>
        </p:spPr>
        <p:txBody>
          <a:bodyPr vert="horz" lIns="0" tIns="45651" rIns="91304" bIns="45651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5688" y="1324048"/>
            <a:ext cx="5909925" cy="3724588"/>
          </a:xfrm>
          <a:prstGeom prst="rect">
            <a:avLst/>
          </a:prstGeom>
        </p:spPr>
        <p:txBody>
          <a:bodyPr vert="horz" lIns="91304" tIns="45651" rIns="91304" bIns="4565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8605" y="5491190"/>
            <a:ext cx="1104633" cy="22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89099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649878" rtl="0" eaLnBrk="1" latinLnBrk="0" hangingPunct="1">
        <a:lnSpc>
          <a:spcPct val="90000"/>
        </a:lnSpc>
        <a:spcBef>
          <a:spcPct val="0"/>
        </a:spcBef>
        <a:buNone/>
        <a:defRPr sz="3741" b="0" kern="120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649878" rtl="0" eaLnBrk="1" latinLnBrk="0" hangingPunct="1">
        <a:lnSpc>
          <a:spcPct val="90000"/>
        </a:lnSpc>
        <a:spcBef>
          <a:spcPts val="712"/>
        </a:spcBef>
        <a:buClr>
          <a:schemeClr val="tx2"/>
        </a:buClr>
        <a:buFont typeface="Wingdings 2" panose="05020102010507070707" pitchFamily="18" charset="2"/>
        <a:buNone/>
        <a:defRPr lang="en-US" sz="2104" kern="1200" dirty="0" smtClean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138963" indent="-138963" algn="l" defTabSz="649878" rtl="0" eaLnBrk="1" latinLnBrk="0" hangingPunct="1">
        <a:lnSpc>
          <a:spcPct val="90000"/>
        </a:lnSpc>
        <a:spcBef>
          <a:spcPts val="355"/>
        </a:spcBef>
        <a:buClr>
          <a:schemeClr val="tx2"/>
        </a:buClr>
        <a:buSzPct val="130000"/>
        <a:buFont typeface="Arial" panose="020B0604020202020204" pitchFamily="34" charset="0"/>
        <a:buChar char="•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418743" indent="-146383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‒"/>
        <a:defRPr sz="1637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974824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indent="0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None/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787162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211210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437048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761991" indent="-162468" algn="l" defTabSz="649878" rtl="0" eaLnBrk="1" latinLnBrk="0" hangingPunct="1">
        <a:lnSpc>
          <a:spcPct val="90000"/>
        </a:lnSpc>
        <a:spcBef>
          <a:spcPts val="355"/>
        </a:spcBef>
        <a:buFont typeface="Arial" panose="020B0604020202020204" pitchFamily="34" charset="0"/>
        <a:buChar char="•"/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1pPr>
      <a:lvl2pPr marL="324939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2pPr>
      <a:lvl3pPr marL="649878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3pPr>
      <a:lvl4pPr marL="974824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4pPr>
      <a:lvl5pPr marL="1299752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5pPr>
      <a:lvl6pPr marL="1624700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6pPr>
      <a:lvl7pPr marL="1949635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7pPr>
      <a:lvl8pPr marL="2274577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8pPr>
      <a:lvl9pPr marL="2599516" algn="l" defTabSz="649878" rtl="0" eaLnBrk="1" latinLnBrk="0" hangingPunct="1">
        <a:defRPr sz="12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13">
          <p15:clr>
            <a:srgbClr val="F26B43"/>
          </p15:clr>
        </p15:guide>
        <p15:guide id="2" pos="6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gineering KPI UT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14DEE6-7743-F44A-92DF-ABEA6EBF579C}" type="datetime1">
              <a:rPr lang="it-IT" smtClean="0"/>
              <a:pPr/>
              <a:t>27/09/2025</a:t>
            </a:fld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9/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03605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3D91E67-CAFC-D7D6-F019-7AD3237D10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2133"/>
            <a:ext cx="10688638" cy="6012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99120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>
        <p159:morph option="byObject"/>
      </p:transition>
    </mc:Choice>
    <mc:Fallback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8214" y="462643"/>
            <a:ext cx="97971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smtClean="0">
                <a:solidFill>
                  <a:schemeClr val="bg1"/>
                </a:solidFill>
              </a:rPr>
              <a:t>Titolo</a:t>
            </a:r>
            <a:endParaRPr lang="en-GB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191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EuaEwLfpY1aeJXE5H7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t3BH__dT2lNIL1P1V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nazI6P0AlcKNJf4CbB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3u5VV4WllVmmJOdgAx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JJVDOmhe9ljSe4LRQ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Vv4PLg.OuiRF8kPdoP2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AdmSGynkWdsxuuntD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D_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STANDARD layout Coesia 16:9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7C5D3784-9861-4A75-8CB4-E17F6C8F360B}"/>
    </a:ext>
  </a:extLst>
</a:theme>
</file>

<file path=ppt/theme/theme1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ndex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Inner page">
  <a:themeElements>
    <a:clrScheme name="COSIA palette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D10025"/>
      </a:accent1>
      <a:accent2>
        <a:srgbClr val="D7293F"/>
      </a:accent2>
      <a:accent3>
        <a:srgbClr val="DD4557"/>
      </a:accent3>
      <a:accent4>
        <a:srgbClr val="E56A79"/>
      </a:accent4>
      <a:accent5>
        <a:srgbClr val="EB8F9A"/>
      </a:accent5>
      <a:accent6>
        <a:srgbClr val="60656A"/>
      </a:accent6>
      <a:hlink>
        <a:srgbClr val="1500F2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5.xml><?xml version="1.0" encoding="utf-8"?>
<a:theme xmlns:a="http://schemas.openxmlformats.org/drawingml/2006/main" name="Corporat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BA199EC-641E-48D8-A32A-33F9B2E0ABE1}"/>
    </a:ext>
  </a:extLst>
</a:theme>
</file>

<file path=ppt/theme/theme6.xml><?xml version="1.0" encoding="utf-8"?>
<a:theme xmlns:a="http://schemas.openxmlformats.org/drawingml/2006/main" name="People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CC793CE-AB04-428C-B75E-3492EDD7D55D}"/>
    </a:ext>
  </a:extLst>
</a:theme>
</file>

<file path=ppt/theme/theme7.xml><?xml version="1.0" encoding="utf-8"?>
<a:theme xmlns:a="http://schemas.openxmlformats.org/drawingml/2006/main" name="Dark overlay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10485A2A-28BD-42B4-82BA-9F3E8A128CAB}"/>
    </a:ext>
  </a:extLst>
</a:theme>
</file>

<file path=ppt/theme/theme8.xml><?xml version="1.0" encoding="utf-8"?>
<a:theme xmlns:a="http://schemas.openxmlformats.org/drawingml/2006/main" name="2_Dark, Insert background image">
  <a:themeElements>
    <a:clrScheme name="Dark-Coesia">
      <a:dk1>
        <a:srgbClr val="FFFFFF"/>
      </a:dk1>
      <a:lt1>
        <a:sysClr val="window" lastClr="FFFFFF"/>
      </a:lt1>
      <a:dk2>
        <a:srgbClr val="FFFFFF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85857E94-9B52-4D0C-94E3-1BE51A901FEF}"/>
    </a:ext>
  </a:extLst>
</a:theme>
</file>

<file path=ppt/theme/theme9.xml><?xml version="1.0" encoding="utf-8"?>
<a:theme xmlns:a="http://schemas.openxmlformats.org/drawingml/2006/main" name="1_Full size content">
  <a:themeElements>
    <a:clrScheme name="Coesia">
      <a:dk1>
        <a:srgbClr val="5F676A"/>
      </a:dk1>
      <a:lt1>
        <a:sysClr val="window" lastClr="FFFFFF"/>
      </a:lt1>
      <a:dk2>
        <a:srgbClr val="CB0026"/>
      </a:dk2>
      <a:lt2>
        <a:srgbClr val="FFFFFF"/>
      </a:lt2>
      <a:accent1>
        <a:srgbClr val="5F676A"/>
      </a:accent1>
      <a:accent2>
        <a:srgbClr val="CB0026"/>
      </a:accent2>
      <a:accent3>
        <a:srgbClr val="9DA4A7"/>
      </a:accent3>
      <a:accent4>
        <a:srgbClr val="EB8F9A"/>
      </a:accent4>
      <a:accent5>
        <a:srgbClr val="DEE0E1"/>
      </a:accent5>
      <a:accent6>
        <a:srgbClr val="FBE8EA"/>
      </a:accent6>
      <a:hlink>
        <a:srgbClr val="1500F2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9525" cap="flat" cmpd="sng" algn="ctr">
          <a:solidFill>
            <a:schemeClr val="bg1"/>
          </a:solidFill>
          <a:prstDash val="solid"/>
        </a:ln>
        <a:effectLst/>
      </a:spPr>
      <a:bodyPr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txDef>
      <a:spPr/>
      <a:bodyPr tIns="4680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esia-template-draft-20170517.potx" id="{BFD718E0-4CCB-4864-A0BE-591CEE74BCBA}" vid="{2987091F-1F69-4819-8EA9-EB349460A02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D_template</Template>
  <TotalTime>22401</TotalTime>
  <Words>6</Words>
  <Application>Microsoft Office PowerPoint</Application>
  <PresentationFormat>Custom</PresentationFormat>
  <Paragraphs>4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8" baseType="lpstr">
      <vt:lpstr>ＭＳ Ｐゴシック</vt:lpstr>
      <vt:lpstr>Arial</vt:lpstr>
      <vt:lpstr>Calibri</vt:lpstr>
      <vt:lpstr>Wingdings 2</vt:lpstr>
      <vt:lpstr>GD_template</vt:lpstr>
      <vt:lpstr>Index</vt:lpstr>
      <vt:lpstr>Inner page</vt:lpstr>
      <vt:lpstr>1_Dark, Insert background image</vt:lpstr>
      <vt:lpstr>Corporate, Insert background image</vt:lpstr>
      <vt:lpstr>People, Insert background image</vt:lpstr>
      <vt:lpstr>Dark overlay, Insert background image</vt:lpstr>
      <vt:lpstr>2_Dark, Insert background image</vt:lpstr>
      <vt:lpstr>1_Full size content</vt:lpstr>
      <vt:lpstr>STANDARD layout Coesia 16:9</vt:lpstr>
      <vt:lpstr>Diapositiva think-cell</vt:lpstr>
      <vt:lpstr>Engineering KPI U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golfier</dc:creator>
  <cp:lastModifiedBy>Microsoft account</cp:lastModifiedBy>
  <cp:revision>506</cp:revision>
  <cp:lastPrinted>2017-08-08T07:27:09Z</cp:lastPrinted>
  <dcterms:created xsi:type="dcterms:W3CDTF">2015-06-10T12:48:40Z</dcterms:created>
  <dcterms:modified xsi:type="dcterms:W3CDTF">2025-09-27T17:37:44Z</dcterms:modified>
</cp:coreProperties>
</file>